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</p:sldMasterIdLst>
  <p:notesMasterIdLst>
    <p:notesMasterId r:id="rId13"/>
  </p:notesMasterIdLst>
  <p:sldIdLst>
    <p:sldId id="294" r:id="rId4"/>
    <p:sldId id="306" r:id="rId5"/>
    <p:sldId id="822" r:id="rId6"/>
    <p:sldId id="821" r:id="rId7"/>
    <p:sldId id="836" r:id="rId8"/>
    <p:sldId id="838" r:id="rId9"/>
    <p:sldId id="829" r:id="rId10"/>
    <p:sldId id="837" r:id="rId11"/>
    <p:sldId id="275" r:id="rId1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9FF"/>
    <a:srgbClr val="9EE0FE"/>
    <a:srgbClr val="ADD1FD"/>
    <a:srgbClr val="A3B2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6625" autoAdjust="0"/>
  </p:normalViewPr>
  <p:slideViewPr>
    <p:cSldViewPr>
      <p:cViewPr varScale="1">
        <p:scale>
          <a:sx n="111" d="100"/>
          <a:sy n="111" d="100"/>
        </p:scale>
        <p:origin x="1614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rgbClr val="0070C0"/>
        </a:solidFill>
      </dgm:spPr>
      <dgm:t>
        <a:bodyPr/>
        <a:lstStyle/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endParaRPr lang="ru-RU" sz="1200" b="1" dirty="0"/>
        </a:p>
        <a:p>
          <a:r>
            <a:rPr lang="ru-RU" sz="1200" b="1" dirty="0">
              <a:solidFill>
                <a:schemeClr val="bg1"/>
              </a:solidFill>
            </a:rPr>
            <a:t>Федеральный </a:t>
          </a:r>
        </a:p>
        <a:p>
          <a:r>
            <a:rPr lang="ru-RU" sz="1200" b="1" dirty="0">
              <a:solidFill>
                <a:schemeClr val="bg1"/>
              </a:solidFill>
            </a:rPr>
            <a:t>уровень</a:t>
          </a:r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00B0F0"/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rgbClr val="00B0F0">
            <a:alpha val="50000"/>
          </a:srgbClr>
        </a:solidFill>
      </dgm:spPr>
      <dgm:t>
        <a:bodyPr/>
        <a:lstStyle/>
        <a:p>
          <a:r>
            <a:rPr lang="ru-RU" sz="1200" b="1" dirty="0"/>
            <a:t>Уровень ОО</a:t>
          </a:r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-253" custLinFactNeighborY="-230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5B00826-AC6C-401C-8674-A5DF7E401C39}" type="presOf" srcId="{CBB2EDB4-08BF-49DB-9282-C363CE23E3D0}" destId="{8064A9E2-4365-4891-A563-4210D9FE6047}" srcOrd="1" destOrd="0" presId="urn:microsoft.com/office/officeart/2005/8/layout/pyramid1"/>
    <dgm:cxn modelId="{A7B1C608-FE22-4B4E-B0CA-16827C9934EA}" type="presOf" srcId="{F014B99B-BC0F-4D51-AA35-03139CBC5BDF}" destId="{158BBE6D-1C8E-4142-827F-B1B32D20364B}" srcOrd="1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85B00B66-E70E-46C8-9E0A-85EA0F7747DB}" type="presOf" srcId="{F014B99B-BC0F-4D51-AA35-03139CBC5BDF}" destId="{47753778-DDCD-4F66-8671-0963E55AC1AB}" srcOrd="0" destOrd="0" presId="urn:microsoft.com/office/officeart/2005/8/layout/pyramid1"/>
    <dgm:cxn modelId="{FB52C724-1ED3-4B90-98F2-FF6D2E8EF254}" type="presOf" srcId="{8380A261-4409-4C6B-8A07-0D64C5422F6D}" destId="{3405B94A-B110-4EB0-B99D-680A85764021}" srcOrd="0" destOrd="0" presId="urn:microsoft.com/office/officeart/2005/8/layout/pyramid1"/>
    <dgm:cxn modelId="{DDCFE0D0-C77B-4C02-BD59-8B73EA8EA223}" type="presOf" srcId="{CBB2EDB4-08BF-49DB-9282-C363CE23E3D0}" destId="{7099C5AD-A666-455F-9144-31509FAE35FB}" srcOrd="0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9A70FBCE-6DA6-4D3E-B131-95FBD9E11F90}" type="presOf" srcId="{C055D918-0D48-44D3-9287-CAE1B93EB64A}" destId="{8C222443-D6D5-437E-8A06-7845FF64044F}" srcOrd="0" destOrd="0" presId="urn:microsoft.com/office/officeart/2005/8/layout/pyramid1"/>
    <dgm:cxn modelId="{8E8B1F27-8E25-42BE-9FDB-24DB10A7BA1A}" type="presOf" srcId="{8380A261-4409-4C6B-8A07-0D64C5422F6D}" destId="{EB789FCB-B92C-4A52-BB06-4A95FA62001B}" srcOrd="1" destOrd="0" presId="urn:microsoft.com/office/officeart/2005/8/layout/pyramid1"/>
    <dgm:cxn modelId="{F9C43761-7891-42B6-9A5A-9E21D946FED9}" type="presParOf" srcId="{8C222443-D6D5-437E-8A06-7845FF64044F}" destId="{8E592AC7-B094-488F-86DE-8B46AA43A5F7}" srcOrd="0" destOrd="0" presId="urn:microsoft.com/office/officeart/2005/8/layout/pyramid1"/>
    <dgm:cxn modelId="{84200684-A89B-4906-97C7-96C117FAB601}" type="presParOf" srcId="{8E592AC7-B094-488F-86DE-8B46AA43A5F7}" destId="{47753778-DDCD-4F66-8671-0963E55AC1AB}" srcOrd="0" destOrd="0" presId="urn:microsoft.com/office/officeart/2005/8/layout/pyramid1"/>
    <dgm:cxn modelId="{FC34F9DD-F1AF-45E6-9A7D-CA84AF03AB13}" type="presParOf" srcId="{8E592AC7-B094-488F-86DE-8B46AA43A5F7}" destId="{158BBE6D-1C8E-4142-827F-B1B32D20364B}" srcOrd="1" destOrd="0" presId="urn:microsoft.com/office/officeart/2005/8/layout/pyramid1"/>
    <dgm:cxn modelId="{E0F08396-3520-4915-93E8-17F81E055CE1}" type="presParOf" srcId="{8C222443-D6D5-437E-8A06-7845FF64044F}" destId="{08609C55-E487-4600-AFD0-8994D3888F22}" srcOrd="1" destOrd="0" presId="urn:microsoft.com/office/officeart/2005/8/layout/pyramid1"/>
    <dgm:cxn modelId="{16E46928-399F-4334-B708-4C9BCC04975E}" type="presParOf" srcId="{08609C55-E487-4600-AFD0-8994D3888F22}" destId="{7099C5AD-A666-455F-9144-31509FAE35FB}" srcOrd="0" destOrd="0" presId="urn:microsoft.com/office/officeart/2005/8/layout/pyramid1"/>
    <dgm:cxn modelId="{771AB4CB-74B9-48FC-9779-98E94CF9886A}" type="presParOf" srcId="{08609C55-E487-4600-AFD0-8994D3888F22}" destId="{8064A9E2-4365-4891-A563-4210D9FE6047}" srcOrd="1" destOrd="0" presId="urn:microsoft.com/office/officeart/2005/8/layout/pyramid1"/>
    <dgm:cxn modelId="{6AA5CA64-D0C1-4DC0-97F8-3A64BFFD9957}" type="presParOf" srcId="{8C222443-D6D5-437E-8A06-7845FF64044F}" destId="{4E66420A-6794-4210-A8DC-A681DFE94B26}" srcOrd="2" destOrd="0" presId="urn:microsoft.com/office/officeart/2005/8/layout/pyramid1"/>
    <dgm:cxn modelId="{8CE43D19-62A7-40FA-93D4-FC0DADE7B412}" type="presParOf" srcId="{4E66420A-6794-4210-A8DC-A681DFE94B26}" destId="{3405B94A-B110-4EB0-B99D-680A85764021}" srcOrd="0" destOrd="0" presId="urn:microsoft.com/office/officeart/2005/8/layout/pyramid1"/>
    <dgm:cxn modelId="{332BE852-B729-4BC0-A48E-ABF1B26E21AA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125148" y="0"/>
          <a:ext cx="1125148" cy="1729979"/>
        </a:xfrm>
        <a:prstGeom prst="trapezoid">
          <a:avLst>
            <a:gd name="adj" fmla="val 50000"/>
          </a:avLst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>
              <a:solidFill>
                <a:schemeClr val="bg1"/>
              </a:solidFill>
            </a:rPr>
            <a:t>уровень</a:t>
          </a:r>
        </a:p>
      </dsp:txBody>
      <dsp:txXfrm>
        <a:off x="1125148" y="0"/>
        <a:ext cx="1125148" cy="1729979"/>
      </dsp:txXfrm>
    </dsp:sp>
    <dsp:sp modelId="{7099C5AD-A666-455F-9144-31509FAE35FB}">
      <dsp:nvSpPr>
        <dsp:cNvPr id="0" name=""/>
        <dsp:cNvSpPr/>
      </dsp:nvSpPr>
      <dsp:spPr>
        <a:xfrm>
          <a:off x="558546" y="1746742"/>
          <a:ext cx="2250296" cy="1729979"/>
        </a:xfrm>
        <a:prstGeom prst="trapezoid">
          <a:avLst>
            <a:gd name="adj" fmla="val 32519"/>
          </a:avLst>
        </a:prstGeom>
        <a:solidFill>
          <a:srgbClr val="00B0F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952348" y="1746742"/>
        <a:ext cx="1462692" cy="1729979"/>
      </dsp:txXfrm>
    </dsp:sp>
    <dsp:sp modelId="{3405B94A-B110-4EB0-B99D-680A85764021}">
      <dsp:nvSpPr>
        <dsp:cNvPr id="0" name=""/>
        <dsp:cNvSpPr/>
      </dsp:nvSpPr>
      <dsp:spPr>
        <a:xfrm>
          <a:off x="0" y="3420047"/>
          <a:ext cx="3375445" cy="1729979"/>
        </a:xfrm>
        <a:prstGeom prst="trapezoid">
          <a:avLst>
            <a:gd name="adj" fmla="val 32519"/>
          </a:avLst>
        </a:prstGeom>
        <a:solidFill>
          <a:srgbClr val="00B0F0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Уровень ОО</a:t>
          </a:r>
        </a:p>
      </dsp:txBody>
      <dsp:txXfrm>
        <a:off x="590702" y="3420047"/>
        <a:ext cx="2194039" cy="17299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24.09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9800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24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24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24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26D5F0-F15D-45D8-B753-04256A09E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34B13E3-A7C9-4F06-8BF0-71CB1F01B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9287681-A4B1-4DAC-A920-9387974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131B457-C1D0-41FE-8722-7952E14C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B35363-2DD3-4661-9ABF-385D2B8D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512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D5C038-3522-431D-87BE-7CFA9834F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DC4E588-0F00-4384-9F1F-F5C9E3DA1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E89D4BC-E56F-434F-913A-C71EE4E0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F9AB716-A8D1-4D69-BD98-B3B2E800E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A62A0C-B6F2-42D3-8C52-2FF842F6D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5621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B04A08-E050-4053-8984-12BBC8E9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E542FE7-6161-49CC-BC77-6DCA71AB9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C7ED17-C6C0-4B04-8221-829B5E38A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96ACE2A-66AE-434A-B79F-6789D4C38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08750E-3676-4599-B399-1616DA3DE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935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39ABB5-252F-4287-B9DB-9F455489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98B0176-9100-4412-8D04-3956CCDA49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9CFD9A-1562-4710-8B23-02E3F449B5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3A1EC48-318E-49FB-86F6-43C974CE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F3DD520-2EDD-440C-BB5E-5226A04F3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3C1C0C-1785-4ABF-9EAA-A07953F12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133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4231B2-1DC3-47D3-BB38-019BF65C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B00D8E1-DCE9-4EE4-89A5-5A59DCA85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E361F16-CADF-4C8C-A7C4-95113ECD7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8C4106D-E03F-49F9-B57D-F511E44B3C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D21BD0C-B38E-470E-8450-61B520B0BD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FCFC90D-B2BF-415A-8F29-DDD9DB526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8F0A58-A757-4749-9A27-EC9553889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CF6A723-A1F8-42E8-B069-820FDFE3A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937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972743-E750-46F7-8B23-17A0CB1B9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604CFA0-DF05-4D8C-8E5E-48A480DFF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45FC85E-5960-4203-B855-7EAEC710D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44812AA-A82C-460E-8580-C311591C4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2484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3ABAC833-9583-4819-A73C-9834D42D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A1B4BAD-8B25-416D-A92A-A661435AA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426697C-C936-4018-92B8-5CA6FABF4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8414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EBB934-6DE9-4C5D-964E-65571BE7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4D6F1F-0591-4F30-B0B7-B4A89AC08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1A51593-8ADF-4AD1-8B9E-71971FA7B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DCB633-62A2-4001-8013-B39E5760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F76BE7B-2A82-4FB0-8DCE-2A44B9DBF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F2F264-AC45-4A20-A3DA-F7103D790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715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24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C3CF078-E04C-428A-96D2-8C3A015BD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27DE1C0-285E-47B6-AF60-79C712F932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034E319-A0D4-4847-B031-A29323CA8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C060F3D-E1E5-4D7E-8C34-1D28DC7A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ABEF55D-40BF-4BE1-B60F-F66AA84C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70D5D7D-51A4-4A9B-A228-6681819AA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499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546C41-6417-4C7D-B049-579510482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6122519-FBFC-4159-9736-37DE6CA07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75F782A-FEF0-41B8-BAA5-10063E32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D4C7A27-2ABD-41A7-9156-FF3A3F3A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A08DD4-7635-41C4-BB05-0081EC36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090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8FBEFD6-19D8-4157-94B4-E769263FEE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0E7B3C1-9979-4B9C-AC81-CB931EC73B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E57E9F-C955-45B6-89E0-B9E079082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D6ED75-BBC5-4A7F-8407-C971FCCE9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22B203-93D4-49E9-864F-689DAF523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1397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426D5F0-F15D-45D8-B753-04256A09E7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34B13E3-A7C9-4F06-8BF0-71CB1F01BE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9287681-A4B1-4DAC-A920-9387974B8D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131B457-C1D0-41FE-8722-7952E14C0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8B35363-2DD3-4661-9ABF-385D2B8D7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9392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D5C038-3522-431D-87BE-7CFA9834F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DC4E588-0F00-4384-9F1F-F5C9E3DA1AC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E89D4BC-E56F-434F-913A-C71EE4E08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F9AB716-A8D1-4D69-BD98-B3B2E800E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BA62A0C-B6F2-42D3-8C52-2FF842F6D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14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B04A08-E050-4053-8984-12BBC8E96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CE542FE7-6161-49CC-BC77-6DCA71AB92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BC7ED17-C6C0-4B04-8221-829B5E38AF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96ACE2A-66AE-434A-B79F-6789D4C388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08750E-3676-4599-B399-1616DA3DED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203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39ABB5-252F-4287-B9DB-9F4554898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98B0176-9100-4412-8D04-3956CCDA49D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F9CFD9A-1562-4710-8B23-02E3F449B5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3A1EC48-318E-49FB-86F6-43C974CED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F3DD520-2EDD-440C-BB5E-5226A04F3A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03C1C0C-1785-4ABF-9EAA-A07953F12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3638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4231B2-1DC3-47D3-BB38-019BF65C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B00D8E1-DCE9-4EE4-89A5-5A59DCA858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E361F16-CADF-4C8C-A7C4-95113ECD7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18C4106D-E03F-49F9-B57D-F511E44B3C2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D21BD0C-B38E-470E-8450-61B520B0BD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FCFC90D-B2BF-415A-8F29-DDD9DB526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458F0A58-A757-4749-9A27-EC9553889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CF6A723-A1F8-42E8-B069-820FDFE3A4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9597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972743-E750-46F7-8B23-17A0CB1B97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604CFA0-DF05-4D8C-8E5E-48A480DFF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45FC85E-5960-4203-B855-7EAEC710D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944812AA-A82C-460E-8580-C311591C42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3252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3ABAC833-9583-4819-A73C-9834D42D0D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A1B4BAD-8B25-416D-A92A-A661435AA7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426697C-C936-4018-92B8-5CA6FABF4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3772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24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EBB934-6DE9-4C5D-964E-65571BE78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4D6F1F-0591-4F30-B0B7-B4A89AC085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1A51593-8ADF-4AD1-8B9E-71971FA7B7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CDCB633-62A2-4001-8013-B39E5760FC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F76BE7B-2A82-4FB0-8DCE-2A44B9DBF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1F2F264-AC45-4A20-A3DA-F7103D790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55978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C3CF078-E04C-428A-96D2-8C3A015BD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27DE1C0-285E-47B6-AF60-79C712F932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034E319-A0D4-4847-B031-A29323CA857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C060F3D-E1E5-4D7E-8C34-1D28DC7AD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ABEF55D-40BF-4BE1-B60F-F66AA84CF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70D5D7D-51A4-4A9B-A228-6681819AA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3027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3546C41-6417-4C7D-B049-5795104822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06122519-FBFC-4159-9736-37DE6CA079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75F782A-FEF0-41B8-BAA5-10063E3227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D4C7A27-2ABD-41A7-9156-FF3A3F3A8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A08DD4-7635-41C4-BB05-0081EC362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20628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E8FBEFD6-19D8-4157-94B4-E769263FEE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0E7B3C1-9979-4B9C-AC81-CB931EC73B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3E57E9F-C955-45B6-89E0-B9E079082F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6D6ED75-BBC5-4A7F-8407-C971FCCE9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D22B203-93D4-49E9-864F-689DAF5236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7420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24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24.09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24.09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24.09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24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24.09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24.09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5E1C93-7273-4DA1-8345-628C07AF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C817E9D-BEF3-4AD5-8894-A097E19E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1227CCA-D85B-4C26-ACB8-E7F4CBFC04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793FC40-929E-4354-A3C4-239C019F8C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5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597033-0DD1-4327-930F-3D19E311A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650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E5E1C93-7273-4DA1-8345-628C07AF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C817E9D-BEF3-4AD5-8894-A097E19E5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1227CCA-D85B-4C26-ACB8-E7F4CBFC04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548839-2E5F-4FCD-9385-9841CECCCCC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4.09.2024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793FC40-929E-4354-A3C4-239C019F8C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6597033-0DD1-4327-930F-3D19E311AD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4796E4-46DC-4F4C-9C07-5371ED3C3E8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7307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6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/>
          </a:p>
        </p:txBody>
      </p:sp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A690F5C-004C-42B9-B72F-B786C782DD2F}"/>
              </a:ext>
            </a:extLst>
          </p:cNvPr>
          <p:cNvSpPr txBox="1"/>
          <p:nvPr/>
        </p:nvSpPr>
        <p:spPr>
          <a:xfrm>
            <a:off x="916386" y="796474"/>
            <a:ext cx="7624018" cy="138499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ое бюджетное профессиональное образовательное учреждение «Троицкий технологический техникум»</a:t>
            </a:r>
            <a:endParaRPr lang="ru-R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A4A1D50-C345-4A34-88BD-4C0B81EE5703}"/>
              </a:ext>
            </a:extLst>
          </p:cNvPr>
          <p:cNvSpPr txBox="1"/>
          <p:nvPr/>
        </p:nvSpPr>
        <p:spPr>
          <a:xfrm>
            <a:off x="683568" y="1708619"/>
            <a:ext cx="7624018" cy="150810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endParaRPr lang="ru-RU" sz="2000" b="1" dirty="0"/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зентация проекта 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внедрению бережливых технологий в системе образования 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ой </a:t>
            </a:r>
            <a:r>
              <a:rPr lang="ru-RU" sz="24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(для  </a:t>
            </a:r>
            <a:r>
              <a:rPr lang="en-US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ck off )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3923933" y="5119241"/>
            <a:ext cx="48515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Оноприенко Юрий Николаевич</a:t>
            </a:r>
          </a:p>
          <a:p>
            <a:r>
              <a:rPr lang="ru-RU" dirty="0" smtClean="0"/>
              <a:t>заместитель директора по УПР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D1909E-D425-4815-B6E0-8863093AA9F6}"/>
              </a:ext>
            </a:extLst>
          </p:cNvPr>
          <p:cNvSpPr txBox="1"/>
          <p:nvPr/>
        </p:nvSpPr>
        <p:spPr>
          <a:xfrm>
            <a:off x="831999" y="3314552"/>
            <a:ext cx="7624018" cy="181588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формирования единого плана работы на год  ГБПОУ «Троицкий технологический техникум» </a:t>
            </a:r>
          </a:p>
          <a:p>
            <a:pPr algn="ctr"/>
            <a:endParaRPr lang="ru-RU" sz="28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6482" y="6299391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9" y="497018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76C5848D-E353-4493-B4C3-0DA0BB73400D}"/>
              </a:ext>
            </a:extLst>
          </p:cNvPr>
          <p:cNvSpPr txBox="1"/>
          <p:nvPr/>
        </p:nvSpPr>
        <p:spPr>
          <a:xfrm>
            <a:off x="2393472" y="6028689"/>
            <a:ext cx="39958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 -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4г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7441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2261134-B118-4814-910A-53FD1FCFF5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2</a:t>
            </a:fld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7489" y="6237312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rtlCol="0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D8E1C705-14D6-41FD-9035-1DBB5D4D54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623" y="1052736"/>
            <a:ext cx="8275795" cy="5327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094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7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12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71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3179" y="836712"/>
            <a:ext cx="3632338" cy="5289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931122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CAC7F4D-E65F-462B-8A35-B149C55565DD}" type="slidenum">
              <a:rPr lang="ru-RU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5087" y="38443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12" y="6309320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084415" y="179609"/>
            <a:ext cx="3312369" cy="36004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999" y="1052736"/>
            <a:ext cx="7976588" cy="48245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0897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/>
              <a:t>Карта текущего состояния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5</a:t>
            </a:fld>
            <a:endParaRPr lang="ru-RU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24744"/>
            <a:ext cx="8064896" cy="4896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5342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69778"/>
            <a:ext cx="8229600" cy="1143000"/>
          </a:xfrm>
        </p:spPr>
        <p:txBody>
          <a:bodyPr>
            <a:normAutofit/>
          </a:bodyPr>
          <a:lstStyle/>
          <a:p>
            <a:r>
              <a:rPr lang="ru-RU" sz="2000" b="1" dirty="0" smtClean="0"/>
              <a:t>                                                  Анализ проблем</a:t>
            </a:r>
            <a:br>
              <a:rPr lang="ru-RU" sz="2000" b="1" dirty="0" smtClean="0"/>
            </a:br>
            <a:r>
              <a:rPr lang="ru-RU" sz="2000" dirty="0" smtClean="0"/>
              <a:t>«</a:t>
            </a:r>
            <a:r>
              <a:rPr lang="ru-RU" sz="2000" dirty="0"/>
              <a:t>Оптимизация процесса </a:t>
            </a:r>
            <a:r>
              <a:rPr lang="ru-RU" sz="2000" dirty="0" smtClean="0"/>
              <a:t>формирования единого </a:t>
            </a:r>
            <a:r>
              <a:rPr lang="ru-RU" sz="2000" dirty="0"/>
              <a:t>плана </a:t>
            </a:r>
            <a:r>
              <a:rPr lang="ru-RU" sz="2000" dirty="0" smtClean="0"/>
              <a:t>работы на год </a:t>
            </a:r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/>
              <a:t>  ГБПОУ «Троицкий технологический техникум</a:t>
            </a:r>
            <a:r>
              <a:rPr lang="ru-RU" sz="2000" dirty="0" smtClean="0"/>
              <a:t>»</a:t>
            </a:r>
            <a:endParaRPr lang="ru-RU" sz="22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98298722"/>
              </p:ext>
            </p:extLst>
          </p:nvPr>
        </p:nvGraphicFramePr>
        <p:xfrm>
          <a:off x="457200" y="1412778"/>
          <a:ext cx="8229600" cy="5169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8008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FFFF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Проблема 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FFFF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Коренная причина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rgbClr val="FFFFFF"/>
                          </a:solidFill>
                          <a:effectLst/>
                          <a:latin typeface="Times New Roman"/>
                          <a:ea typeface="Times New Roman"/>
                          <a:cs typeface="Times New Roman"/>
                        </a:rPr>
                        <a:t>Способ решения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00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ует единая форма плана на год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требований к оформлению плана работы на год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 единой формы    плана работы на год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00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при подготовке единого плана работы на год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ый процесс объединения информации </a:t>
                      </a:r>
                    </a:p>
                    <a:p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единого плана работы на год в Яндекс таблице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00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есвоевременное предоставление информации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груженность заместителей директора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распределение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язанностей сотрудников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00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ременные затраты на корректировку плана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лительный процесс согласования и ознакомления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еративная работа в Яндекс таблице 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800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сутствие стандарта планирования и корректировки плана работы на год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сутствие единых требований к подготовке единого плана работы на год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зработка стандарта планирования и корректировки</a:t>
                      </a:r>
                      <a:r>
                        <a:rPr lang="ru-RU" sz="14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единого плана работы  на год</a:t>
                      </a:r>
                      <a:endParaRPr lang="ru-RU" sz="1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6292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625956" y="6429375"/>
            <a:ext cx="260747" cy="285750"/>
          </a:xfrm>
        </p:spPr>
        <p:txBody>
          <a:bodyPr/>
          <a:lstStyle/>
          <a:p>
            <a:pPr algn="ctr">
              <a:defRPr/>
            </a:pPr>
            <a:fld id="{AD987F0A-53C7-4A4A-8BA7-E39A8CD592AC}" type="slidenum">
              <a:rPr lang="ru-RU" b="1">
                <a:solidFill>
                  <a:srgbClr val="5B9BD5">
                    <a:lumMod val="50000"/>
                  </a:srgb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rgbClr val="5B9BD5">
                  <a:lumMod val="50000"/>
                </a:srgbClr>
              </a:solidFill>
            </a:endParaRP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121487665"/>
              </p:ext>
            </p:extLst>
          </p:nvPr>
        </p:nvGraphicFramePr>
        <p:xfrm>
          <a:off x="1235887" y="959979"/>
          <a:ext cx="3375445" cy="5189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4602772" y="1556793"/>
            <a:ext cx="4205750" cy="792087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федеральном уровне – не выявлены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619884" y="2492897"/>
            <a:ext cx="4188638" cy="792088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облемы,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шение которых требуется </a:t>
            </a: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егиональном уровне – не выявлены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633182" y="3429000"/>
            <a:ext cx="4162049" cy="30229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b="1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1.Отсутствуют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единые формы плана на месяц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.Временные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траты при подготовке единого плана работы на год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3.Несвоевременное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редоставление информации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4.Временные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затраты на корректировку плана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5.Отсутствие 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стандарта планирования и корректировки плана работы на год</a:t>
            </a:r>
          </a:p>
          <a:p>
            <a:pPr>
              <a:defRPr/>
            </a:pPr>
            <a:r>
              <a:rPr lang="ru-RU" sz="16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нформации</a:t>
            </a:r>
            <a:r>
              <a:rPr lang="ru-RU" sz="16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																</a:t>
            </a:r>
          </a:p>
        </p:txBody>
      </p:sp>
      <p:sp>
        <p:nvSpPr>
          <p:cNvPr id="9" name="Пятно 1 60"/>
          <p:cNvSpPr/>
          <p:nvPr/>
        </p:nvSpPr>
        <p:spPr>
          <a:xfrm>
            <a:off x="1665379" y="5416091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3" name="Пятно 1 60"/>
          <p:cNvSpPr/>
          <p:nvPr/>
        </p:nvSpPr>
        <p:spPr>
          <a:xfrm>
            <a:off x="2337166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14" name="Пятно 1 60"/>
          <p:cNvSpPr/>
          <p:nvPr/>
        </p:nvSpPr>
        <p:spPr>
          <a:xfrm>
            <a:off x="3008953" y="5472381"/>
            <a:ext cx="484584" cy="494312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3</a:t>
            </a:r>
          </a:p>
        </p:txBody>
      </p:sp>
      <p:pic>
        <p:nvPicPr>
          <p:cNvPr id="15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883" y="34058"/>
            <a:ext cx="54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1956315" y="179609"/>
            <a:ext cx="2484277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1587" y="522303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7284" y="6309320"/>
            <a:ext cx="5218385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Прямоугольник 5"/>
          <p:cNvSpPr>
            <a:spLocks noChangeArrowheads="1"/>
          </p:cNvSpPr>
          <p:nvPr/>
        </p:nvSpPr>
        <p:spPr bwMode="auto">
          <a:xfrm>
            <a:off x="2986739" y="797806"/>
            <a:ext cx="359914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ирамида  проблем</a:t>
            </a:r>
          </a:p>
        </p:txBody>
      </p:sp>
      <p:sp>
        <p:nvSpPr>
          <p:cNvPr id="20" name="Пятно 1 60"/>
          <p:cNvSpPr/>
          <p:nvPr/>
        </p:nvSpPr>
        <p:spPr>
          <a:xfrm>
            <a:off x="3680740" y="5472388"/>
            <a:ext cx="484584" cy="504825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prstClr val="white"/>
                </a:solidFill>
                <a:cs typeface="Arial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1839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рта </a:t>
            </a:r>
            <a:r>
              <a:rPr lang="ru-RU" dirty="0" smtClean="0"/>
              <a:t>целевого состояния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8</a:t>
            </a:fld>
            <a:endParaRPr lang="ru-RU"/>
          </a:p>
        </p:txBody>
      </p:sp>
      <p:pic>
        <p:nvPicPr>
          <p:cNvPr id="614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96752"/>
            <a:ext cx="8640959" cy="4896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572475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6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/>
          </a:p>
        </p:txBody>
      </p:sp>
      <p:pic>
        <p:nvPicPr>
          <p:cNvPr id="8" name="Picture 3" descr="C:\Users\Администратор\Desktop\Coat_of_arms_of_Chelyabinsk_Oblast.svg.png">
            <a:extLst>
              <a:ext uri="{FF2B5EF4-FFF2-40B4-BE49-F238E27FC236}">
                <a16:creationId xmlns:a16="http://schemas.microsoft.com/office/drawing/2014/main" id="{9CAB8852-A417-4D29-8B91-8360D3232C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44" y="34058"/>
            <a:ext cx="720000" cy="92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084415" y="179609"/>
            <a:ext cx="3312369" cy="3600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ябинская область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449" y="526516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53" y="6320514"/>
            <a:ext cx="6957847" cy="28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5"/>
          <p:cNvSpPr>
            <a:spLocks noChangeArrowheads="1"/>
          </p:cNvSpPr>
          <p:nvPr/>
        </p:nvSpPr>
        <p:spPr bwMode="auto">
          <a:xfrm>
            <a:off x="1403649" y="572641"/>
            <a:ext cx="631103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План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еализации проекта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214" name="Picture 166"/>
          <p:cNvPicPr>
            <a:picLocks noGrp="1" noChangeAspect="1" noChangeArrowheads="1"/>
          </p:cNvPicPr>
          <p:nvPr>
            <p:ph idx="1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546483"/>
            <a:ext cx="7877775" cy="5051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27</TotalTime>
  <Words>253</Words>
  <Application>Microsoft Office PowerPoint</Application>
  <PresentationFormat>Экран (4:3)</PresentationFormat>
  <Paragraphs>72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Calibri Light</vt:lpstr>
      <vt:lpstr>Times New Roman</vt:lpstr>
      <vt:lpstr>Тема Office</vt:lpstr>
      <vt:lpstr>2_Тема Office</vt:lpstr>
      <vt:lpstr>1_Тема Office</vt:lpstr>
      <vt:lpstr>think-cell Slide</vt:lpstr>
      <vt:lpstr>Челябинская область</vt:lpstr>
      <vt:lpstr>Презентация PowerPoint</vt:lpstr>
      <vt:lpstr>Челябинская область</vt:lpstr>
      <vt:lpstr>Челябинская область</vt:lpstr>
      <vt:lpstr>Карта текущего состояния </vt:lpstr>
      <vt:lpstr>                                                  Анализ проблем «Оптимизация процесса формирования единого плана работы на год    ГБПОУ «Троицкий технологический техникум»</vt:lpstr>
      <vt:lpstr>Презентация PowerPoint</vt:lpstr>
      <vt:lpstr>Карта целевого состояния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Пользователь Windows</cp:lastModifiedBy>
  <cp:revision>187</cp:revision>
  <cp:lastPrinted>2024-06-10T07:54:26Z</cp:lastPrinted>
  <dcterms:created xsi:type="dcterms:W3CDTF">2018-08-20T14:01:12Z</dcterms:created>
  <dcterms:modified xsi:type="dcterms:W3CDTF">2024-09-24T10:58:14Z</dcterms:modified>
</cp:coreProperties>
</file>